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6" r:id="rId2"/>
  </p:sldMasterIdLst>
  <p:notesMasterIdLst>
    <p:notesMasterId r:id="rId10"/>
  </p:notesMasterIdLst>
  <p:sldIdLst>
    <p:sldId id="278" r:id="rId3"/>
    <p:sldId id="279" r:id="rId4"/>
    <p:sldId id="280" r:id="rId5"/>
    <p:sldId id="281" r:id="rId6"/>
    <p:sldId id="282" r:id="rId7"/>
    <p:sldId id="283" r:id="rId8"/>
    <p:sldId id="284" r:id="rId9"/>
  </p:sldIdLst>
  <p:sldSz cx="12192000" cy="6858000"/>
  <p:notesSz cx="6858000" cy="9144000"/>
  <p:defaultTextStyle>
    <a:defPPr>
      <a:defRPr lang="id-ID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66FDA-214A-41D6-A11F-E718AA3E0F67}">
          <p14:sldIdLst>
            <p14:sldId id="278"/>
            <p14:sldId id="279"/>
            <p14:sldId id="280"/>
            <p14:sldId id="281"/>
            <p14:sldId id="282"/>
            <p14:sldId id="283"/>
            <p14:sldId id="28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637">
          <p15:clr>
            <a:srgbClr val="A4A3A4"/>
          </p15:clr>
        </p15:guide>
        <p15:guide id="4" orient="horz" pos="858">
          <p15:clr>
            <a:srgbClr val="A4A3A4"/>
          </p15:clr>
        </p15:guide>
        <p15:guide id="5" orient="horz" pos="3945">
          <p15:clr>
            <a:srgbClr val="A4A3A4"/>
          </p15:clr>
        </p15:guide>
        <p15:guide id="6" orient="horz" pos="383">
          <p15:clr>
            <a:srgbClr val="A4A3A4"/>
          </p15:clr>
        </p15:guide>
        <p15:guide id="7" pos="456">
          <p15:clr>
            <a:srgbClr val="A4A3A4"/>
          </p15:clr>
        </p15:guide>
        <p15:guide id="8" pos="7296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jay Khandelwal" initials="AK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383F"/>
    <a:srgbClr val="42424D"/>
    <a:srgbClr val="1B1F23"/>
    <a:srgbClr val="FF7300"/>
    <a:srgbClr val="F15B2A"/>
    <a:srgbClr val="282560"/>
    <a:srgbClr val="1B677F"/>
    <a:srgbClr val="FF9300"/>
    <a:srgbClr val="2294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69" autoAdjust="0"/>
    <p:restoredTop sz="94620" autoAdjust="0"/>
  </p:normalViewPr>
  <p:slideViewPr>
    <p:cSldViewPr snapToGrid="0">
      <p:cViewPr varScale="1">
        <p:scale>
          <a:sx n="108" d="100"/>
          <a:sy n="108" d="100"/>
        </p:scale>
        <p:origin x="678" y="108"/>
      </p:cViewPr>
      <p:guideLst>
        <p:guide orient="horz" pos="2160"/>
        <p:guide pos="3840"/>
        <p:guide orient="horz" pos="637"/>
        <p:guide orient="horz" pos="858"/>
        <p:guide orient="horz" pos="3945"/>
        <p:guide orient="horz" pos="383"/>
        <p:guide pos="456"/>
        <p:guide pos="729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8DEBC2-52DD-FC46-95AB-9A3711BE0FA3}" type="datetimeFigureOut">
              <a:rPr lang="en-US" smtClean="0"/>
              <a:t>8/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EB9E42-E4AC-B043-9AE4-E4FA0BE4A0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20272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2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3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14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6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7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3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8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3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18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9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0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2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4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5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raphic 2">
            <a:extLst>
              <a:ext uri="{FF2B5EF4-FFF2-40B4-BE49-F238E27FC236}">
                <a16:creationId xmlns:a16="http://schemas.microsoft.com/office/drawing/2014/main" id="{07942C70-E296-4CA8-87CB-60CEF95E9B2A}"/>
              </a:ext>
            </a:extLst>
          </p:cNvPr>
          <p:cNvSpPr/>
          <p:nvPr/>
        </p:nvSpPr>
        <p:spPr>
          <a:xfrm>
            <a:off x="-12728" y="1800993"/>
            <a:ext cx="11595114" cy="11811250"/>
          </a:xfrm>
          <a:custGeom>
            <a:avLst/>
            <a:gdLst>
              <a:gd name="connsiteX0" fmla="*/ 11590932 w 11595113"/>
              <a:gd name="connsiteY0" fmla="*/ 12728 h 11811249"/>
              <a:gd name="connsiteX1" fmla="*/ 8048829 w 11595113"/>
              <a:gd name="connsiteY1" fmla="*/ 12728 h 11811249"/>
              <a:gd name="connsiteX2" fmla="*/ 6895801 w 11595113"/>
              <a:gd name="connsiteY2" fmla="*/ 12728 h 11811249"/>
              <a:gd name="connsiteX3" fmla="*/ 4707859 w 11595113"/>
              <a:gd name="connsiteY3" fmla="*/ 12728 h 11811249"/>
              <a:gd name="connsiteX4" fmla="*/ 12728 w 11595113"/>
              <a:gd name="connsiteY4" fmla="*/ 3554832 h 11811249"/>
              <a:gd name="connsiteX5" fmla="*/ 8048829 w 11595113"/>
              <a:gd name="connsiteY5" fmla="*/ 3554832 h 11811249"/>
              <a:gd name="connsiteX6" fmla="*/ 8048829 w 11595113"/>
              <a:gd name="connsiteY6" fmla="*/ 11807577 h 11811249"/>
              <a:gd name="connsiteX7" fmla="*/ 11590932 w 11595113"/>
              <a:gd name="connsiteY7" fmla="*/ 7112701 h 11811249"/>
              <a:gd name="connsiteX8" fmla="*/ 11590932 w 11595113"/>
              <a:gd name="connsiteY8" fmla="*/ 4707478 h 11811249"/>
              <a:gd name="connsiteX9" fmla="*/ 11590932 w 11595113"/>
              <a:gd name="connsiteY9" fmla="*/ 3554832 h 11811249"/>
              <a:gd name="connsiteX10" fmla="*/ 11590932 w 11595113"/>
              <a:gd name="connsiteY10" fmla="*/ 12728 h 11811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595113" h="11811249">
                <a:moveTo>
                  <a:pt x="11590932" y="12728"/>
                </a:moveTo>
                <a:lnTo>
                  <a:pt x="8048829" y="12728"/>
                </a:lnTo>
                <a:lnTo>
                  <a:pt x="6895801" y="12728"/>
                </a:lnTo>
                <a:lnTo>
                  <a:pt x="4707859" y="12728"/>
                </a:lnTo>
                <a:lnTo>
                  <a:pt x="12728" y="3554832"/>
                </a:lnTo>
                <a:lnTo>
                  <a:pt x="8048829" y="3554832"/>
                </a:lnTo>
                <a:lnTo>
                  <a:pt x="8048829" y="11807577"/>
                </a:lnTo>
                <a:lnTo>
                  <a:pt x="11590932" y="7112701"/>
                </a:lnTo>
                <a:lnTo>
                  <a:pt x="11590932" y="4707478"/>
                </a:lnTo>
                <a:lnTo>
                  <a:pt x="11590932" y="3554832"/>
                </a:lnTo>
                <a:lnTo>
                  <a:pt x="11590932" y="12728"/>
                </a:lnTo>
                <a:close/>
              </a:path>
            </a:pathLst>
          </a:custGeom>
          <a:solidFill>
            <a:srgbClr val="F15A29"/>
          </a:solidFill>
          <a:ln w="1271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523271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Century Gothic" panose="020B0502020202020204" pitchFamily="34" charset="0"/>
                <a:cs typeface="Arial" pitchFamily="34" charset="0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298592"/>
            <a:ext cx="2494016" cy="402652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Century Gothic" panose="020B0502020202020204" pitchFamily="34" charset="0"/>
                <a:cs typeface="Arial" pitchFamily="34" charset="0"/>
              </a:defRPr>
            </a:lvl1pPr>
          </a:lstStyle>
          <a:p>
            <a:fld id="{5761F466-C622-4CCE-BE3D-279FD219A330}" type="datetime3">
              <a:rPr lang="en-US" smtClean="0"/>
              <a:pPr/>
              <a:t>4 August 2022</a:t>
            </a:fld>
            <a:endParaRPr lang="en-US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8FB1727-620B-4D2A-8BAC-91BB2023AD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47105" y="453629"/>
            <a:ext cx="1360860" cy="908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787861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273061"/>
            <a:ext cx="7893169" cy="2950234"/>
          </a:xfrm>
          <a:prstGeom prst="rect">
            <a:avLst/>
          </a:prstGeom>
          <a:solidFill>
            <a:srgbClr val="3238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0084" y="1561379"/>
            <a:ext cx="2353139" cy="235313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3899" y="2605178"/>
            <a:ext cx="6530915" cy="105366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itle Placeholder 1"/>
          <p:cNvSpPr txBox="1">
            <a:spLocks/>
          </p:cNvSpPr>
          <p:nvPr userDrawn="1"/>
        </p:nvSpPr>
        <p:spPr>
          <a:xfrm>
            <a:off x="695400" y="3933056"/>
            <a:ext cx="6530915" cy="92551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23901" y="3795802"/>
            <a:ext cx="6556794" cy="108674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2955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273061"/>
            <a:ext cx="7893169" cy="2950234"/>
          </a:xfrm>
          <a:prstGeom prst="rect">
            <a:avLst/>
          </a:prstGeom>
          <a:solidFill>
            <a:srgbClr val="3238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0084" y="1561379"/>
            <a:ext cx="2353139" cy="235313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3899" y="3221346"/>
            <a:ext cx="6530915" cy="105366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itle Placeholder 1"/>
          <p:cNvSpPr txBox="1">
            <a:spLocks/>
          </p:cNvSpPr>
          <p:nvPr userDrawn="1"/>
        </p:nvSpPr>
        <p:spPr>
          <a:xfrm>
            <a:off x="695400" y="3933056"/>
            <a:ext cx="6530915" cy="92551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© IGT Solutions Pvt. Ltd. | Confidential: Not for Distribution | www.igtsolutions.com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2F3D5A7-E7A9-4A02-B0FC-4F987CA7C55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09417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00" y="2860676"/>
            <a:ext cx="5486400" cy="92551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200" baseline="0">
                <a:solidFill>
                  <a:srgbClr val="32383F"/>
                </a:solidFill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238" y="2865438"/>
            <a:ext cx="4762500" cy="476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50598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prstGeom prst="rect">
            <a:avLst/>
          </a:prstGeo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rgbClr val="32383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25EC734A-E42D-4350-B867-46322505690E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4044748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solidFill>
          <a:srgbClr val="3238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7273AB4-5452-450E-A892-4DD43BFDAF51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322B385-D19D-4B81-A70F-62DA185B90DC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4595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solidFill>
          <a:srgbClr val="3238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C5C276B3-3233-441D-A97F-1F9351A428FC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CAF5873-A9A3-4B2F-B1D4-1691F71FE8B7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7113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solidFill>
          <a:srgbClr val="3238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7507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75079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32383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4251EA1A-1860-4088-8DB4-AECA9CCF34BC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D130FA9B-4EAC-42EC-861E-2A85C540DFA9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5802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solidFill>
          <a:srgbClr val="3238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32383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235D5F13-F047-4DB3-B424-D86031AE8D3B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4874B0B-EFA9-4C3D-AAFB-51B2129CC31E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5873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solidFill>
          <a:srgbClr val="3238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4224161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643967" y="-1309"/>
            <a:ext cx="7548033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0737E565-A1C1-49F9-9AD9-596487B82FA2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2EE1E081-ECFA-46E8-A534-C7DFC6406A97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3377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solidFill>
          <a:srgbClr val="3238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solidFill>
                  <a:srgbClr val="32383F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20CD9C14-BFA3-42A2-88BA-E3D0ECA413BF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328B078F-2A71-46A3-A0A7-EBF986DECE78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1426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07942C70-E296-4CA8-87CB-60CEF95E9B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1813721"/>
            <a:ext cx="11582400" cy="11798536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523271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Century Gothic" panose="020B0502020202020204" pitchFamily="34" charset="0"/>
                <a:cs typeface="Arial" pitchFamily="34" charset="0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298592"/>
            <a:ext cx="2494016" cy="402652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Century Gothic" panose="020B0502020202020204" pitchFamily="34" charset="0"/>
                <a:cs typeface="Arial" pitchFamily="34" charset="0"/>
              </a:defRPr>
            </a:lvl1pPr>
          </a:lstStyle>
          <a:p>
            <a:fld id="{5761F466-C622-4CCE-BE3D-279FD219A330}" type="datetime3">
              <a:rPr lang="en-US" smtClean="0"/>
              <a:pPr/>
              <a:t>4 August 2022</a:t>
            </a:fld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5D967F2-5002-4AAE-BDF9-33DAEB4AFF6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47105" y="453629"/>
            <a:ext cx="1360860" cy="908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167214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solidFill>
          <a:srgbClr val="3238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rgbClr val="32383F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877A3B2-9D92-4B0A-A489-BDC62D523BAE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FA85FEAB-781A-4599-B14E-8285A4F42709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909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solidFill>
          <a:srgbClr val="3238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7373A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368F0BCD-5976-4067-A25C-8C0D80E9DE83}"/>
              </a:ext>
            </a:extLst>
          </p:cNvPr>
          <p:cNvSpPr txBox="1">
            <a:spLocks/>
          </p:cNvSpPr>
          <p:nvPr userDrawn="1"/>
        </p:nvSpPr>
        <p:spPr>
          <a:xfrm>
            <a:off x="627964" y="6292850"/>
            <a:ext cx="2428503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nfidential: Not for Distribution www.igtsolutions.com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61D11E97-A779-442C-A951-0FFA56B11E0B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76F07D8D-2247-4206-AF75-DCCD30DB9445}"/>
              </a:ext>
            </a:extLst>
          </p:cNvPr>
          <p:cNvSpPr txBox="1">
            <a:spLocks/>
          </p:cNvSpPr>
          <p:nvPr userDrawn="1"/>
        </p:nvSpPr>
        <p:spPr>
          <a:xfrm>
            <a:off x="615817" y="2764202"/>
            <a:ext cx="2478638" cy="1314311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rgbClr val="32383F"/>
                </a:solidFill>
              </a:rPr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99785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5254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3238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25F51A22-3D41-41DA-A432-8F69BA535F00}"/>
              </a:ext>
            </a:extLst>
          </p:cNvPr>
          <p:cNvSpPr txBox="1">
            <a:spLocks/>
          </p:cNvSpPr>
          <p:nvPr userDrawn="1"/>
        </p:nvSpPr>
        <p:spPr>
          <a:xfrm>
            <a:off x="627964" y="6292850"/>
            <a:ext cx="2428503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nfidential: Not for Distribution www.igtsolutions.com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B71479CE-1AD3-468D-8FFB-8D5F05969B4B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4199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solidFill>
          <a:srgbClr val="3238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7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BC0869E1-4382-45A5-AF71-6D77D9FC4EF1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C707CF15-5316-40E0-BC56-ADE2F5142E52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6436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3238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5A6BBEEC-7F02-4F06-8C8D-331C88A20271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F73BECBB-E063-4A7F-BC09-DB7B9037C681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8195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rgbClr val="3238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32383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2DA4A37B-EF93-418E-8293-417F5E4845CF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A2D613F-0182-4D7A-8834-29B1A803A254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6959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3238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2925D161-D3D5-45B5-A91C-5FF0F4F986B4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0A1E03D7-4996-4754-8E49-331BBCAF5BE5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0718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solidFill>
          <a:srgbClr val="3238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32383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BD2073C-3149-4A5C-82A9-A2B7DFB331C0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DA27352-B763-4AF8-8E4F-955989E0CC0D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3818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32383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261DC76A-1C1D-4502-ADF7-426B770B4943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F220F0B5-7B25-430B-8904-59C25560936B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7526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3238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1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3B405418-9B02-4742-A159-13F66B8ED20B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8E57347-B18B-4DB9-BB6A-32BCADFDFCD3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9273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523271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298592"/>
            <a:ext cx="2494016" cy="402652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fld id="{5761F466-C622-4CCE-BE3D-279FD219A330}" type="datetime3">
              <a:rPr lang="en-US" smtClean="0"/>
              <a:pPr/>
              <a:t>4 August 2022</a:t>
            </a:fld>
            <a:endParaRPr lang="en-US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C288970-37F5-4C4C-817F-00ABB8B6BF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47105" y="453629"/>
            <a:ext cx="1360860" cy="908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401548"/>
      </p:ext>
    </p:extLst>
  </p:cSld>
  <p:clrMapOvr>
    <a:masterClrMapping/>
  </p:clrMapOvr>
  <p:hf hd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5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3238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32383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645071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1B1F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9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32383F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029BC74E-6170-47BB-B2CC-F0E101B0122E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D3D2795-58FF-46F8-A2D9-098F8E8FB4DA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1881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3238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0105D949-07AC-4B33-BD50-A4B244525FBC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7D2A72D-C8F6-446C-AF73-E1D67971039E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1962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80411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3238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261D0C18-3BDE-4F85-90D3-B992B446F039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D4E1931-EA39-4D8E-8941-E4FE296611B6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8022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08212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9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43F410-228B-454E-9CBE-F4F1FAAFA053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747A982-59DC-4F87-981D-9798FA95C28B}"/>
              </a:ext>
            </a:extLst>
          </p:cNvPr>
          <p:cNvGrpSpPr/>
          <p:nvPr userDrawn="1"/>
        </p:nvGrpSpPr>
        <p:grpSpPr>
          <a:xfrm>
            <a:off x="4450789" y="2330457"/>
            <a:ext cx="3287360" cy="2196455"/>
            <a:chOff x="4450789" y="2330457"/>
            <a:chExt cx="3287360" cy="2196455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3AD33317-FFB1-4B4F-BD0F-32679F857138}"/>
                </a:ext>
              </a:extLst>
            </p:cNvPr>
            <p:cNvGrpSpPr/>
            <p:nvPr userDrawn="1"/>
          </p:nvGrpSpPr>
          <p:grpSpPr>
            <a:xfrm>
              <a:off x="4450789" y="2877939"/>
              <a:ext cx="2431851" cy="1648973"/>
              <a:chOff x="4450789" y="2877939"/>
              <a:chExt cx="2431851" cy="1648973"/>
            </a:xfrm>
            <a:solidFill>
              <a:srgbClr val="32383F"/>
            </a:solidFill>
          </p:grpSpPr>
          <p:sp>
            <p:nvSpPr>
              <p:cNvPr id="4" name="Freeform: Shape 3">
                <a:extLst>
                  <a:ext uri="{FF2B5EF4-FFF2-40B4-BE49-F238E27FC236}">
                    <a16:creationId xmlns:a16="http://schemas.microsoft.com/office/drawing/2014/main" id="{D066B2B3-C977-47AD-8EB0-1F6C1AF7A181}"/>
                  </a:ext>
                </a:extLst>
              </p:cNvPr>
              <p:cNvSpPr/>
              <p:nvPr/>
            </p:nvSpPr>
            <p:spPr>
              <a:xfrm>
                <a:off x="4450789" y="4262098"/>
                <a:ext cx="194358" cy="264206"/>
              </a:xfrm>
              <a:custGeom>
                <a:avLst/>
                <a:gdLst>
                  <a:gd name="connsiteX0" fmla="*/ 2278 w 194358"/>
                  <a:gd name="connsiteY0" fmla="*/ 222206 h 264205"/>
                  <a:gd name="connsiteX1" fmla="*/ 20013 w 194358"/>
                  <a:gd name="connsiteY1" fmla="*/ 201221 h 264205"/>
                  <a:gd name="connsiteX2" fmla="*/ 106806 w 194358"/>
                  <a:gd name="connsiteY2" fmla="*/ 237026 h 264205"/>
                  <a:gd name="connsiteX3" fmla="*/ 163230 w 194358"/>
                  <a:gd name="connsiteY3" fmla="*/ 193994 h 264205"/>
                  <a:gd name="connsiteX4" fmla="*/ 163230 w 194358"/>
                  <a:gd name="connsiteY4" fmla="*/ 193265 h 264205"/>
                  <a:gd name="connsiteX5" fmla="*/ 97422 w 194358"/>
                  <a:gd name="connsiteY5" fmla="*/ 145161 h 264205"/>
                  <a:gd name="connsiteX6" fmla="*/ 12421 w 194358"/>
                  <a:gd name="connsiteY6" fmla="*/ 72095 h 264205"/>
                  <a:gd name="connsiteX7" fmla="*/ 12421 w 194358"/>
                  <a:gd name="connsiteY7" fmla="*/ 71366 h 264205"/>
                  <a:gd name="connsiteX8" fmla="*/ 95600 w 194358"/>
                  <a:gd name="connsiteY8" fmla="*/ 2278 h 264205"/>
                  <a:gd name="connsiteX9" fmla="*/ 184579 w 194358"/>
                  <a:gd name="connsiteY9" fmla="*/ 33375 h 264205"/>
                  <a:gd name="connsiteX10" fmla="*/ 167938 w 194358"/>
                  <a:gd name="connsiteY10" fmla="*/ 55422 h 264205"/>
                  <a:gd name="connsiteX11" fmla="*/ 94871 w 194358"/>
                  <a:gd name="connsiteY11" fmla="*/ 27939 h 264205"/>
                  <a:gd name="connsiteX12" fmla="*/ 40967 w 194358"/>
                  <a:gd name="connsiteY12" fmla="*/ 68815 h 264205"/>
                  <a:gd name="connsiteX13" fmla="*/ 40967 w 194358"/>
                  <a:gd name="connsiteY13" fmla="*/ 69544 h 264205"/>
                  <a:gd name="connsiteX14" fmla="*/ 109691 w 194358"/>
                  <a:gd name="connsiteY14" fmla="*/ 118741 h 264205"/>
                  <a:gd name="connsiteX15" fmla="*/ 192141 w 194358"/>
                  <a:gd name="connsiteY15" fmla="*/ 190349 h 264205"/>
                  <a:gd name="connsiteX16" fmla="*/ 192141 w 194358"/>
                  <a:gd name="connsiteY16" fmla="*/ 191078 h 264205"/>
                  <a:gd name="connsiteX17" fmla="*/ 105713 w 194358"/>
                  <a:gd name="connsiteY17" fmla="*/ 262687 h 264205"/>
                  <a:gd name="connsiteX18" fmla="*/ 2278 w 194358"/>
                  <a:gd name="connsiteY18" fmla="*/ 222176 h 264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4358" h="264205">
                    <a:moveTo>
                      <a:pt x="2278" y="222206"/>
                    </a:moveTo>
                    <a:lnTo>
                      <a:pt x="20013" y="201221"/>
                    </a:lnTo>
                    <a:cubicBezTo>
                      <a:pt x="46403" y="225091"/>
                      <a:pt x="71730" y="237026"/>
                      <a:pt x="106806" y="237026"/>
                    </a:cubicBezTo>
                    <a:cubicBezTo>
                      <a:pt x="141881" y="237026"/>
                      <a:pt x="163230" y="218956"/>
                      <a:pt x="163230" y="193994"/>
                    </a:cubicBezTo>
                    <a:lnTo>
                      <a:pt x="163230" y="193265"/>
                    </a:lnTo>
                    <a:cubicBezTo>
                      <a:pt x="163230" y="169760"/>
                      <a:pt x="150567" y="156367"/>
                      <a:pt x="97422" y="145161"/>
                    </a:cubicBezTo>
                    <a:cubicBezTo>
                      <a:pt x="39206" y="132498"/>
                      <a:pt x="12421" y="113699"/>
                      <a:pt x="12421" y="72095"/>
                    </a:cubicBezTo>
                    <a:lnTo>
                      <a:pt x="12421" y="71366"/>
                    </a:lnTo>
                    <a:cubicBezTo>
                      <a:pt x="12421" y="31583"/>
                      <a:pt x="47496" y="2278"/>
                      <a:pt x="95600" y="2278"/>
                    </a:cubicBezTo>
                    <a:cubicBezTo>
                      <a:pt x="132498" y="2278"/>
                      <a:pt x="158888" y="12755"/>
                      <a:pt x="184579" y="33375"/>
                    </a:cubicBezTo>
                    <a:lnTo>
                      <a:pt x="167938" y="55422"/>
                    </a:lnTo>
                    <a:cubicBezTo>
                      <a:pt x="144432" y="36260"/>
                      <a:pt x="120927" y="27939"/>
                      <a:pt x="94871" y="27939"/>
                    </a:cubicBezTo>
                    <a:cubicBezTo>
                      <a:pt x="61952" y="27939"/>
                      <a:pt x="40967" y="46008"/>
                      <a:pt x="40967" y="68815"/>
                    </a:cubicBezTo>
                    <a:lnTo>
                      <a:pt x="40967" y="69544"/>
                    </a:lnTo>
                    <a:cubicBezTo>
                      <a:pt x="40967" y="93413"/>
                      <a:pt x="53995" y="106806"/>
                      <a:pt x="109691" y="118741"/>
                    </a:cubicBezTo>
                    <a:cubicBezTo>
                      <a:pt x="166115" y="131040"/>
                      <a:pt x="192141" y="151660"/>
                      <a:pt x="192141" y="190349"/>
                    </a:cubicBezTo>
                    <a:lnTo>
                      <a:pt x="192141" y="191078"/>
                    </a:lnTo>
                    <a:cubicBezTo>
                      <a:pt x="192141" y="234475"/>
                      <a:pt x="155972" y="262687"/>
                      <a:pt x="105713" y="262687"/>
                    </a:cubicBezTo>
                    <a:cubicBezTo>
                      <a:pt x="65566" y="262687"/>
                      <a:pt x="32646" y="249295"/>
                      <a:pt x="2278" y="22217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5C9A6FD7-8DEA-46B4-B233-9820FDF46C7D}"/>
                  </a:ext>
                </a:extLst>
              </p:cNvPr>
              <p:cNvSpPr/>
              <p:nvPr/>
            </p:nvSpPr>
            <p:spPr>
              <a:xfrm>
                <a:off x="4687663" y="4261400"/>
                <a:ext cx="261169" cy="264206"/>
              </a:xfrm>
              <a:custGeom>
                <a:avLst/>
                <a:gdLst>
                  <a:gd name="connsiteX0" fmla="*/ 2278 w 261168"/>
                  <a:gd name="connsiteY0" fmla="*/ 133925 h 264205"/>
                  <a:gd name="connsiteX1" fmla="*/ 2278 w 261168"/>
                  <a:gd name="connsiteY1" fmla="*/ 133196 h 264205"/>
                  <a:gd name="connsiteX2" fmla="*/ 131769 w 261168"/>
                  <a:gd name="connsiteY2" fmla="*/ 2278 h 264205"/>
                  <a:gd name="connsiteX3" fmla="*/ 260531 w 261168"/>
                  <a:gd name="connsiteY3" fmla="*/ 132467 h 264205"/>
                  <a:gd name="connsiteX4" fmla="*/ 260531 w 261168"/>
                  <a:gd name="connsiteY4" fmla="*/ 133196 h 264205"/>
                  <a:gd name="connsiteX5" fmla="*/ 131040 w 261168"/>
                  <a:gd name="connsiteY5" fmla="*/ 264115 h 264205"/>
                  <a:gd name="connsiteX6" fmla="*/ 2278 w 261168"/>
                  <a:gd name="connsiteY6" fmla="*/ 133925 h 264205"/>
                  <a:gd name="connsiteX7" fmla="*/ 230861 w 261168"/>
                  <a:gd name="connsiteY7" fmla="*/ 133925 h 264205"/>
                  <a:gd name="connsiteX8" fmla="*/ 230861 w 261168"/>
                  <a:gd name="connsiteY8" fmla="*/ 133196 h 264205"/>
                  <a:gd name="connsiteX9" fmla="*/ 131040 w 261168"/>
                  <a:gd name="connsiteY9" fmla="*/ 28668 h 264205"/>
                  <a:gd name="connsiteX10" fmla="*/ 31948 w 261168"/>
                  <a:gd name="connsiteY10" fmla="*/ 132467 h 264205"/>
                  <a:gd name="connsiteX11" fmla="*/ 31948 w 261168"/>
                  <a:gd name="connsiteY11" fmla="*/ 133196 h 264205"/>
                  <a:gd name="connsiteX12" fmla="*/ 131769 w 261168"/>
                  <a:gd name="connsiteY12" fmla="*/ 237724 h 264205"/>
                  <a:gd name="connsiteX13" fmla="*/ 230861 w 261168"/>
                  <a:gd name="connsiteY13" fmla="*/ 133925 h 264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61168" h="264205">
                    <a:moveTo>
                      <a:pt x="2278" y="133925"/>
                    </a:moveTo>
                    <a:lnTo>
                      <a:pt x="2278" y="133196"/>
                    </a:lnTo>
                    <a:cubicBezTo>
                      <a:pt x="2278" y="63379"/>
                      <a:pt x="54724" y="2278"/>
                      <a:pt x="131769" y="2278"/>
                    </a:cubicBezTo>
                    <a:cubicBezTo>
                      <a:pt x="208813" y="2278"/>
                      <a:pt x="260531" y="62681"/>
                      <a:pt x="260531" y="132467"/>
                    </a:cubicBezTo>
                    <a:lnTo>
                      <a:pt x="260531" y="133196"/>
                    </a:lnTo>
                    <a:cubicBezTo>
                      <a:pt x="260531" y="202983"/>
                      <a:pt x="208085" y="264115"/>
                      <a:pt x="131040" y="264115"/>
                    </a:cubicBezTo>
                    <a:cubicBezTo>
                      <a:pt x="53995" y="264115"/>
                      <a:pt x="2278" y="203712"/>
                      <a:pt x="2278" y="133925"/>
                    </a:cubicBezTo>
                    <a:close/>
                    <a:moveTo>
                      <a:pt x="230861" y="133925"/>
                    </a:moveTo>
                    <a:lnTo>
                      <a:pt x="230861" y="133196"/>
                    </a:lnTo>
                    <a:cubicBezTo>
                      <a:pt x="230861" y="75678"/>
                      <a:pt x="188892" y="28668"/>
                      <a:pt x="131040" y="28668"/>
                    </a:cubicBezTo>
                    <a:cubicBezTo>
                      <a:pt x="73188" y="28668"/>
                      <a:pt x="31948" y="74950"/>
                      <a:pt x="31948" y="132467"/>
                    </a:cubicBezTo>
                    <a:lnTo>
                      <a:pt x="31948" y="133196"/>
                    </a:lnTo>
                    <a:cubicBezTo>
                      <a:pt x="31948" y="190714"/>
                      <a:pt x="73917" y="237724"/>
                      <a:pt x="131769" y="237724"/>
                    </a:cubicBezTo>
                    <a:cubicBezTo>
                      <a:pt x="189621" y="237724"/>
                      <a:pt x="230861" y="191443"/>
                      <a:pt x="230861" y="13392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4EF3BE49-C3E1-4317-B40F-B497FE66F92E}"/>
                  </a:ext>
                </a:extLst>
              </p:cNvPr>
              <p:cNvSpPr/>
              <p:nvPr/>
            </p:nvSpPr>
            <p:spPr>
              <a:xfrm>
                <a:off x="5006289" y="4265743"/>
                <a:ext cx="173100" cy="255095"/>
              </a:xfrm>
              <a:custGeom>
                <a:avLst/>
                <a:gdLst>
                  <a:gd name="connsiteX0" fmla="*/ 2278 w 173100"/>
                  <a:gd name="connsiteY0" fmla="*/ 2278 h 255094"/>
                  <a:gd name="connsiteX1" fmla="*/ 30854 w 173100"/>
                  <a:gd name="connsiteY1" fmla="*/ 2278 h 255094"/>
                  <a:gd name="connsiteX2" fmla="*/ 30854 w 173100"/>
                  <a:gd name="connsiteY2" fmla="*/ 229039 h 255094"/>
                  <a:gd name="connsiteX3" fmla="*/ 173343 w 173100"/>
                  <a:gd name="connsiteY3" fmla="*/ 229039 h 255094"/>
                  <a:gd name="connsiteX4" fmla="*/ 173343 w 173100"/>
                  <a:gd name="connsiteY4" fmla="*/ 255429 h 255094"/>
                  <a:gd name="connsiteX5" fmla="*/ 2278 w 173100"/>
                  <a:gd name="connsiteY5" fmla="*/ 255429 h 255094"/>
                  <a:gd name="connsiteX6" fmla="*/ 2278 w 173100"/>
                  <a:gd name="connsiteY6" fmla="*/ 2278 h 255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3100" h="255094">
                    <a:moveTo>
                      <a:pt x="2278" y="2278"/>
                    </a:moveTo>
                    <a:lnTo>
                      <a:pt x="30854" y="2278"/>
                    </a:lnTo>
                    <a:lnTo>
                      <a:pt x="30854" y="229039"/>
                    </a:lnTo>
                    <a:lnTo>
                      <a:pt x="173343" y="229039"/>
                    </a:lnTo>
                    <a:lnTo>
                      <a:pt x="173343" y="255429"/>
                    </a:lnTo>
                    <a:lnTo>
                      <a:pt x="2278" y="255429"/>
                    </a:lnTo>
                    <a:lnTo>
                      <a:pt x="2278" y="227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881EF341-F4B5-4E13-AB1B-D88DB98F2CD4}"/>
                  </a:ext>
                </a:extLst>
              </p:cNvPr>
              <p:cNvSpPr/>
              <p:nvPr/>
            </p:nvSpPr>
            <p:spPr>
              <a:xfrm>
                <a:off x="5218929" y="4265743"/>
                <a:ext cx="212579" cy="261169"/>
              </a:xfrm>
              <a:custGeom>
                <a:avLst/>
                <a:gdLst>
                  <a:gd name="connsiteX0" fmla="*/ 2278 w 212579"/>
                  <a:gd name="connsiteY0" fmla="*/ 149473 h 261168"/>
                  <a:gd name="connsiteX1" fmla="*/ 2278 w 212579"/>
                  <a:gd name="connsiteY1" fmla="*/ 2278 h 261168"/>
                  <a:gd name="connsiteX2" fmla="*/ 30854 w 212579"/>
                  <a:gd name="connsiteY2" fmla="*/ 2278 h 261168"/>
                  <a:gd name="connsiteX3" fmla="*/ 30854 w 212579"/>
                  <a:gd name="connsiteY3" fmla="*/ 147651 h 261168"/>
                  <a:gd name="connsiteX4" fmla="*/ 108264 w 212579"/>
                  <a:gd name="connsiteY4" fmla="*/ 233017 h 261168"/>
                  <a:gd name="connsiteX5" fmla="*/ 184579 w 212579"/>
                  <a:gd name="connsiteY5" fmla="*/ 149473 h 261168"/>
                  <a:gd name="connsiteX6" fmla="*/ 184579 w 212579"/>
                  <a:gd name="connsiteY6" fmla="*/ 2278 h 261168"/>
                  <a:gd name="connsiteX7" fmla="*/ 213156 w 212579"/>
                  <a:gd name="connsiteY7" fmla="*/ 2278 h 261168"/>
                  <a:gd name="connsiteX8" fmla="*/ 213156 w 212579"/>
                  <a:gd name="connsiteY8" fmla="*/ 147317 h 261168"/>
                  <a:gd name="connsiteX9" fmla="*/ 107535 w 212579"/>
                  <a:gd name="connsiteY9" fmla="*/ 259438 h 261168"/>
                  <a:gd name="connsiteX10" fmla="*/ 2278 w 212579"/>
                  <a:gd name="connsiteY10" fmla="*/ 149504 h 261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12579" h="261168">
                    <a:moveTo>
                      <a:pt x="2278" y="149473"/>
                    </a:moveTo>
                    <a:lnTo>
                      <a:pt x="2278" y="2278"/>
                    </a:lnTo>
                    <a:lnTo>
                      <a:pt x="30854" y="2278"/>
                    </a:lnTo>
                    <a:lnTo>
                      <a:pt x="30854" y="147651"/>
                    </a:lnTo>
                    <a:cubicBezTo>
                      <a:pt x="30854" y="202254"/>
                      <a:pt x="59796" y="233017"/>
                      <a:pt x="108264" y="233017"/>
                    </a:cubicBezTo>
                    <a:cubicBezTo>
                      <a:pt x="156732" y="233017"/>
                      <a:pt x="184579" y="204805"/>
                      <a:pt x="184579" y="149473"/>
                    </a:cubicBezTo>
                    <a:lnTo>
                      <a:pt x="184579" y="2278"/>
                    </a:lnTo>
                    <a:lnTo>
                      <a:pt x="213156" y="2278"/>
                    </a:lnTo>
                    <a:lnTo>
                      <a:pt x="213156" y="147317"/>
                    </a:lnTo>
                    <a:cubicBezTo>
                      <a:pt x="213156" y="221082"/>
                      <a:pt x="170853" y="259438"/>
                      <a:pt x="107535" y="259438"/>
                    </a:cubicBezTo>
                    <a:cubicBezTo>
                      <a:pt x="44216" y="259438"/>
                      <a:pt x="2278" y="221113"/>
                      <a:pt x="2278" y="14950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6020F978-AC2B-4268-8511-6A7F546A17FA}"/>
                  </a:ext>
                </a:extLst>
              </p:cNvPr>
              <p:cNvSpPr/>
              <p:nvPr/>
            </p:nvSpPr>
            <p:spPr>
              <a:xfrm>
                <a:off x="5479308" y="4265773"/>
                <a:ext cx="203469" cy="255095"/>
              </a:xfrm>
              <a:custGeom>
                <a:avLst/>
                <a:gdLst>
                  <a:gd name="connsiteX0" fmla="*/ 87279 w 203468"/>
                  <a:gd name="connsiteY0" fmla="*/ 28668 h 255094"/>
                  <a:gd name="connsiteX1" fmla="*/ 2278 w 203468"/>
                  <a:gd name="connsiteY1" fmla="*/ 28668 h 255094"/>
                  <a:gd name="connsiteX2" fmla="*/ 2278 w 203468"/>
                  <a:gd name="connsiteY2" fmla="*/ 2278 h 255094"/>
                  <a:gd name="connsiteX3" fmla="*/ 201191 w 203468"/>
                  <a:gd name="connsiteY3" fmla="*/ 2278 h 255094"/>
                  <a:gd name="connsiteX4" fmla="*/ 201191 w 203468"/>
                  <a:gd name="connsiteY4" fmla="*/ 28668 h 255094"/>
                  <a:gd name="connsiteX5" fmla="*/ 116190 w 203468"/>
                  <a:gd name="connsiteY5" fmla="*/ 28668 h 255094"/>
                  <a:gd name="connsiteX6" fmla="*/ 116190 w 203468"/>
                  <a:gd name="connsiteY6" fmla="*/ 255429 h 255094"/>
                  <a:gd name="connsiteX7" fmla="*/ 87249 w 203468"/>
                  <a:gd name="connsiteY7" fmla="*/ 255429 h 255094"/>
                  <a:gd name="connsiteX8" fmla="*/ 87249 w 203468"/>
                  <a:gd name="connsiteY8" fmla="*/ 28668 h 255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3468" h="255094">
                    <a:moveTo>
                      <a:pt x="87279" y="28668"/>
                    </a:moveTo>
                    <a:lnTo>
                      <a:pt x="2278" y="28668"/>
                    </a:lnTo>
                    <a:lnTo>
                      <a:pt x="2278" y="2278"/>
                    </a:lnTo>
                    <a:lnTo>
                      <a:pt x="201191" y="2278"/>
                    </a:lnTo>
                    <a:lnTo>
                      <a:pt x="201191" y="28668"/>
                    </a:lnTo>
                    <a:lnTo>
                      <a:pt x="116190" y="28668"/>
                    </a:lnTo>
                    <a:lnTo>
                      <a:pt x="116190" y="255429"/>
                    </a:lnTo>
                    <a:lnTo>
                      <a:pt x="87249" y="255429"/>
                    </a:lnTo>
                    <a:lnTo>
                      <a:pt x="87249" y="2866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937F9861-9EF6-4B72-B9A7-E57F6F496A8B}"/>
                  </a:ext>
                </a:extLst>
              </p:cNvPr>
              <p:cNvSpPr/>
              <p:nvPr/>
            </p:nvSpPr>
            <p:spPr>
              <a:xfrm>
                <a:off x="5734282" y="4265743"/>
                <a:ext cx="30368" cy="255095"/>
              </a:xfrm>
              <a:custGeom>
                <a:avLst/>
                <a:gdLst>
                  <a:gd name="connsiteX0" fmla="*/ 2278 w 30368"/>
                  <a:gd name="connsiteY0" fmla="*/ 2278 h 255094"/>
                  <a:gd name="connsiteX1" fmla="*/ 30854 w 30368"/>
                  <a:gd name="connsiteY1" fmla="*/ 2278 h 255094"/>
                  <a:gd name="connsiteX2" fmla="*/ 30854 w 30368"/>
                  <a:gd name="connsiteY2" fmla="*/ 255429 h 255094"/>
                  <a:gd name="connsiteX3" fmla="*/ 2278 w 30368"/>
                  <a:gd name="connsiteY3" fmla="*/ 255429 h 255094"/>
                  <a:gd name="connsiteX4" fmla="*/ 2278 w 30368"/>
                  <a:gd name="connsiteY4" fmla="*/ 2278 h 255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368" h="255094">
                    <a:moveTo>
                      <a:pt x="2278" y="2278"/>
                    </a:moveTo>
                    <a:lnTo>
                      <a:pt x="30854" y="2278"/>
                    </a:lnTo>
                    <a:lnTo>
                      <a:pt x="30854" y="255429"/>
                    </a:lnTo>
                    <a:lnTo>
                      <a:pt x="2278" y="255429"/>
                    </a:lnTo>
                    <a:lnTo>
                      <a:pt x="2278" y="227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FFCA22A6-454A-4F6B-8933-F705ECFE2293}"/>
                  </a:ext>
                </a:extLst>
              </p:cNvPr>
              <p:cNvSpPr/>
              <p:nvPr/>
            </p:nvSpPr>
            <p:spPr>
              <a:xfrm>
                <a:off x="5825752" y="4261400"/>
                <a:ext cx="261169" cy="264206"/>
              </a:xfrm>
              <a:custGeom>
                <a:avLst/>
                <a:gdLst>
                  <a:gd name="connsiteX0" fmla="*/ 2278 w 261168"/>
                  <a:gd name="connsiteY0" fmla="*/ 133925 h 264205"/>
                  <a:gd name="connsiteX1" fmla="*/ 2278 w 261168"/>
                  <a:gd name="connsiteY1" fmla="*/ 133196 h 264205"/>
                  <a:gd name="connsiteX2" fmla="*/ 131769 w 261168"/>
                  <a:gd name="connsiteY2" fmla="*/ 2278 h 264205"/>
                  <a:gd name="connsiteX3" fmla="*/ 260531 w 261168"/>
                  <a:gd name="connsiteY3" fmla="*/ 132467 h 264205"/>
                  <a:gd name="connsiteX4" fmla="*/ 260531 w 261168"/>
                  <a:gd name="connsiteY4" fmla="*/ 133196 h 264205"/>
                  <a:gd name="connsiteX5" fmla="*/ 131040 w 261168"/>
                  <a:gd name="connsiteY5" fmla="*/ 264115 h 264205"/>
                  <a:gd name="connsiteX6" fmla="*/ 2278 w 261168"/>
                  <a:gd name="connsiteY6" fmla="*/ 133925 h 264205"/>
                  <a:gd name="connsiteX7" fmla="*/ 230861 w 261168"/>
                  <a:gd name="connsiteY7" fmla="*/ 133925 h 264205"/>
                  <a:gd name="connsiteX8" fmla="*/ 230861 w 261168"/>
                  <a:gd name="connsiteY8" fmla="*/ 133196 h 264205"/>
                  <a:gd name="connsiteX9" fmla="*/ 131040 w 261168"/>
                  <a:gd name="connsiteY9" fmla="*/ 28668 h 264205"/>
                  <a:gd name="connsiteX10" fmla="*/ 31948 w 261168"/>
                  <a:gd name="connsiteY10" fmla="*/ 132467 h 264205"/>
                  <a:gd name="connsiteX11" fmla="*/ 31948 w 261168"/>
                  <a:gd name="connsiteY11" fmla="*/ 133196 h 264205"/>
                  <a:gd name="connsiteX12" fmla="*/ 131769 w 261168"/>
                  <a:gd name="connsiteY12" fmla="*/ 237724 h 264205"/>
                  <a:gd name="connsiteX13" fmla="*/ 230861 w 261168"/>
                  <a:gd name="connsiteY13" fmla="*/ 133925 h 264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61168" h="264205">
                    <a:moveTo>
                      <a:pt x="2278" y="133925"/>
                    </a:moveTo>
                    <a:lnTo>
                      <a:pt x="2278" y="133196"/>
                    </a:lnTo>
                    <a:cubicBezTo>
                      <a:pt x="2278" y="63379"/>
                      <a:pt x="54724" y="2278"/>
                      <a:pt x="131769" y="2278"/>
                    </a:cubicBezTo>
                    <a:cubicBezTo>
                      <a:pt x="208814" y="2278"/>
                      <a:pt x="260531" y="62681"/>
                      <a:pt x="260531" y="132467"/>
                    </a:cubicBezTo>
                    <a:lnTo>
                      <a:pt x="260531" y="133196"/>
                    </a:lnTo>
                    <a:cubicBezTo>
                      <a:pt x="260531" y="202983"/>
                      <a:pt x="208085" y="264115"/>
                      <a:pt x="131040" y="264115"/>
                    </a:cubicBezTo>
                    <a:cubicBezTo>
                      <a:pt x="53995" y="264115"/>
                      <a:pt x="2278" y="203712"/>
                      <a:pt x="2278" y="133925"/>
                    </a:cubicBezTo>
                    <a:close/>
                    <a:moveTo>
                      <a:pt x="230861" y="133925"/>
                    </a:moveTo>
                    <a:lnTo>
                      <a:pt x="230861" y="133196"/>
                    </a:lnTo>
                    <a:cubicBezTo>
                      <a:pt x="230861" y="75678"/>
                      <a:pt x="188892" y="28668"/>
                      <a:pt x="131040" y="28668"/>
                    </a:cubicBezTo>
                    <a:cubicBezTo>
                      <a:pt x="73188" y="28668"/>
                      <a:pt x="31948" y="74950"/>
                      <a:pt x="31948" y="132467"/>
                    </a:cubicBezTo>
                    <a:lnTo>
                      <a:pt x="31948" y="133196"/>
                    </a:lnTo>
                    <a:cubicBezTo>
                      <a:pt x="31948" y="190714"/>
                      <a:pt x="73886" y="237724"/>
                      <a:pt x="131769" y="237724"/>
                    </a:cubicBezTo>
                    <a:cubicBezTo>
                      <a:pt x="189651" y="237724"/>
                      <a:pt x="230861" y="191443"/>
                      <a:pt x="230861" y="13392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55E5A1D7-7047-4CC3-A247-604DC4B5FE1D}"/>
                  </a:ext>
                </a:extLst>
              </p:cNvPr>
              <p:cNvSpPr/>
              <p:nvPr/>
            </p:nvSpPr>
            <p:spPr>
              <a:xfrm>
                <a:off x="6144377" y="4265743"/>
                <a:ext cx="218653" cy="255095"/>
              </a:xfrm>
              <a:custGeom>
                <a:avLst/>
                <a:gdLst>
                  <a:gd name="connsiteX0" fmla="*/ 2278 w 218652"/>
                  <a:gd name="connsiteY0" fmla="*/ 2278 h 255094"/>
                  <a:gd name="connsiteX1" fmla="*/ 29032 w 218652"/>
                  <a:gd name="connsiteY1" fmla="*/ 2278 h 255094"/>
                  <a:gd name="connsiteX2" fmla="*/ 188527 w 218652"/>
                  <a:gd name="connsiteY2" fmla="*/ 205169 h 255094"/>
                  <a:gd name="connsiteX3" fmla="*/ 188527 w 218652"/>
                  <a:gd name="connsiteY3" fmla="*/ 2278 h 255094"/>
                  <a:gd name="connsiteX4" fmla="*/ 216375 w 218652"/>
                  <a:gd name="connsiteY4" fmla="*/ 2278 h 255094"/>
                  <a:gd name="connsiteX5" fmla="*/ 216375 w 218652"/>
                  <a:gd name="connsiteY5" fmla="*/ 255429 h 255094"/>
                  <a:gd name="connsiteX6" fmla="*/ 193599 w 218652"/>
                  <a:gd name="connsiteY6" fmla="*/ 255429 h 255094"/>
                  <a:gd name="connsiteX7" fmla="*/ 30125 w 218652"/>
                  <a:gd name="connsiteY7" fmla="*/ 47830 h 255094"/>
                  <a:gd name="connsiteX8" fmla="*/ 30125 w 218652"/>
                  <a:gd name="connsiteY8" fmla="*/ 255429 h 255094"/>
                  <a:gd name="connsiteX9" fmla="*/ 2278 w 218652"/>
                  <a:gd name="connsiteY9" fmla="*/ 255429 h 255094"/>
                  <a:gd name="connsiteX10" fmla="*/ 2278 w 218652"/>
                  <a:gd name="connsiteY10" fmla="*/ 2278 h 255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18652" h="255094">
                    <a:moveTo>
                      <a:pt x="2278" y="2278"/>
                    </a:moveTo>
                    <a:lnTo>
                      <a:pt x="29032" y="2278"/>
                    </a:lnTo>
                    <a:lnTo>
                      <a:pt x="188527" y="205169"/>
                    </a:lnTo>
                    <a:lnTo>
                      <a:pt x="188527" y="2278"/>
                    </a:lnTo>
                    <a:lnTo>
                      <a:pt x="216375" y="2278"/>
                    </a:lnTo>
                    <a:lnTo>
                      <a:pt x="216375" y="255429"/>
                    </a:lnTo>
                    <a:lnTo>
                      <a:pt x="193599" y="255429"/>
                    </a:lnTo>
                    <a:lnTo>
                      <a:pt x="30125" y="47830"/>
                    </a:lnTo>
                    <a:lnTo>
                      <a:pt x="30125" y="255429"/>
                    </a:lnTo>
                    <a:lnTo>
                      <a:pt x="2278" y="255429"/>
                    </a:lnTo>
                    <a:lnTo>
                      <a:pt x="2278" y="227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C5CF0957-DB5C-4868-B64B-30D6B94958A5}"/>
                  </a:ext>
                </a:extLst>
              </p:cNvPr>
              <p:cNvSpPr/>
              <p:nvPr/>
            </p:nvSpPr>
            <p:spPr>
              <a:xfrm>
                <a:off x="6413442" y="4262098"/>
                <a:ext cx="194358" cy="264206"/>
              </a:xfrm>
              <a:custGeom>
                <a:avLst/>
                <a:gdLst>
                  <a:gd name="connsiteX0" fmla="*/ 2278 w 194358"/>
                  <a:gd name="connsiteY0" fmla="*/ 222206 h 264205"/>
                  <a:gd name="connsiteX1" fmla="*/ 20013 w 194358"/>
                  <a:gd name="connsiteY1" fmla="*/ 201221 h 264205"/>
                  <a:gd name="connsiteX2" fmla="*/ 106806 w 194358"/>
                  <a:gd name="connsiteY2" fmla="*/ 237026 h 264205"/>
                  <a:gd name="connsiteX3" fmla="*/ 163230 w 194358"/>
                  <a:gd name="connsiteY3" fmla="*/ 193994 h 264205"/>
                  <a:gd name="connsiteX4" fmla="*/ 163230 w 194358"/>
                  <a:gd name="connsiteY4" fmla="*/ 193265 h 264205"/>
                  <a:gd name="connsiteX5" fmla="*/ 97422 w 194358"/>
                  <a:gd name="connsiteY5" fmla="*/ 145161 h 264205"/>
                  <a:gd name="connsiteX6" fmla="*/ 12421 w 194358"/>
                  <a:gd name="connsiteY6" fmla="*/ 72095 h 264205"/>
                  <a:gd name="connsiteX7" fmla="*/ 12421 w 194358"/>
                  <a:gd name="connsiteY7" fmla="*/ 71366 h 264205"/>
                  <a:gd name="connsiteX8" fmla="*/ 95600 w 194358"/>
                  <a:gd name="connsiteY8" fmla="*/ 2278 h 264205"/>
                  <a:gd name="connsiteX9" fmla="*/ 184579 w 194358"/>
                  <a:gd name="connsiteY9" fmla="*/ 33375 h 264205"/>
                  <a:gd name="connsiteX10" fmla="*/ 167938 w 194358"/>
                  <a:gd name="connsiteY10" fmla="*/ 55422 h 264205"/>
                  <a:gd name="connsiteX11" fmla="*/ 94871 w 194358"/>
                  <a:gd name="connsiteY11" fmla="*/ 27939 h 264205"/>
                  <a:gd name="connsiteX12" fmla="*/ 40967 w 194358"/>
                  <a:gd name="connsiteY12" fmla="*/ 68815 h 264205"/>
                  <a:gd name="connsiteX13" fmla="*/ 40967 w 194358"/>
                  <a:gd name="connsiteY13" fmla="*/ 69544 h 264205"/>
                  <a:gd name="connsiteX14" fmla="*/ 109691 w 194358"/>
                  <a:gd name="connsiteY14" fmla="*/ 118741 h 264205"/>
                  <a:gd name="connsiteX15" fmla="*/ 192141 w 194358"/>
                  <a:gd name="connsiteY15" fmla="*/ 190349 h 264205"/>
                  <a:gd name="connsiteX16" fmla="*/ 192141 w 194358"/>
                  <a:gd name="connsiteY16" fmla="*/ 191078 h 264205"/>
                  <a:gd name="connsiteX17" fmla="*/ 105713 w 194358"/>
                  <a:gd name="connsiteY17" fmla="*/ 262687 h 264205"/>
                  <a:gd name="connsiteX18" fmla="*/ 2278 w 194358"/>
                  <a:gd name="connsiteY18" fmla="*/ 222176 h 264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4358" h="264205">
                    <a:moveTo>
                      <a:pt x="2278" y="222206"/>
                    </a:moveTo>
                    <a:lnTo>
                      <a:pt x="20013" y="201221"/>
                    </a:lnTo>
                    <a:cubicBezTo>
                      <a:pt x="46403" y="225091"/>
                      <a:pt x="71730" y="237026"/>
                      <a:pt x="106806" y="237026"/>
                    </a:cubicBezTo>
                    <a:cubicBezTo>
                      <a:pt x="141881" y="237026"/>
                      <a:pt x="163230" y="218956"/>
                      <a:pt x="163230" y="193994"/>
                    </a:cubicBezTo>
                    <a:lnTo>
                      <a:pt x="163230" y="193265"/>
                    </a:lnTo>
                    <a:cubicBezTo>
                      <a:pt x="163230" y="169760"/>
                      <a:pt x="150567" y="156367"/>
                      <a:pt x="97422" y="145161"/>
                    </a:cubicBezTo>
                    <a:cubicBezTo>
                      <a:pt x="39206" y="132498"/>
                      <a:pt x="12421" y="113699"/>
                      <a:pt x="12421" y="72095"/>
                    </a:cubicBezTo>
                    <a:lnTo>
                      <a:pt x="12421" y="71366"/>
                    </a:lnTo>
                    <a:cubicBezTo>
                      <a:pt x="12421" y="31583"/>
                      <a:pt x="47496" y="2278"/>
                      <a:pt x="95600" y="2278"/>
                    </a:cubicBezTo>
                    <a:cubicBezTo>
                      <a:pt x="132497" y="2278"/>
                      <a:pt x="158888" y="12755"/>
                      <a:pt x="184579" y="33375"/>
                    </a:cubicBezTo>
                    <a:lnTo>
                      <a:pt x="167938" y="55422"/>
                    </a:lnTo>
                    <a:cubicBezTo>
                      <a:pt x="144432" y="36260"/>
                      <a:pt x="120927" y="27939"/>
                      <a:pt x="94871" y="27939"/>
                    </a:cubicBezTo>
                    <a:cubicBezTo>
                      <a:pt x="61952" y="27939"/>
                      <a:pt x="40967" y="46008"/>
                      <a:pt x="40967" y="68815"/>
                    </a:cubicBezTo>
                    <a:lnTo>
                      <a:pt x="40967" y="69544"/>
                    </a:lnTo>
                    <a:cubicBezTo>
                      <a:pt x="40967" y="93413"/>
                      <a:pt x="53995" y="106806"/>
                      <a:pt x="109691" y="118741"/>
                    </a:cubicBezTo>
                    <a:cubicBezTo>
                      <a:pt x="166115" y="131040"/>
                      <a:pt x="192141" y="151660"/>
                      <a:pt x="192141" y="190349"/>
                    </a:cubicBezTo>
                    <a:lnTo>
                      <a:pt x="192141" y="191078"/>
                    </a:lnTo>
                    <a:cubicBezTo>
                      <a:pt x="192141" y="234475"/>
                      <a:pt x="155972" y="262687"/>
                      <a:pt x="105713" y="262687"/>
                    </a:cubicBezTo>
                    <a:cubicBezTo>
                      <a:pt x="65565" y="262687"/>
                      <a:pt x="32646" y="249295"/>
                      <a:pt x="2278" y="22217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6A2E94DB-F1F3-49E7-AEF6-E8726FB2575E}"/>
                  </a:ext>
                </a:extLst>
              </p:cNvPr>
              <p:cNvSpPr/>
              <p:nvPr/>
            </p:nvSpPr>
            <p:spPr>
              <a:xfrm>
                <a:off x="6011065" y="2895340"/>
                <a:ext cx="871575" cy="1163112"/>
              </a:xfrm>
              <a:custGeom>
                <a:avLst/>
                <a:gdLst>
                  <a:gd name="connsiteX0" fmla="*/ 872359 w 871574"/>
                  <a:gd name="connsiteY0" fmla="*/ 724 h 1163111"/>
                  <a:gd name="connsiteX1" fmla="*/ 373892 w 871574"/>
                  <a:gd name="connsiteY1" fmla="*/ 724 h 1163111"/>
                  <a:gd name="connsiteX2" fmla="*/ 724 w 871574"/>
                  <a:gd name="connsiteY2" fmla="*/ 277897 h 1163111"/>
                  <a:gd name="connsiteX3" fmla="*/ 785 w 871574"/>
                  <a:gd name="connsiteY3" fmla="*/ 278110 h 1163111"/>
                  <a:gd name="connsiteX4" fmla="*/ 267086 w 871574"/>
                  <a:gd name="connsiteY4" fmla="*/ 278110 h 1163111"/>
                  <a:gd name="connsiteX5" fmla="*/ 267086 w 871574"/>
                  <a:gd name="connsiteY5" fmla="*/ 1164960 h 1163111"/>
                  <a:gd name="connsiteX6" fmla="*/ 267420 w 871574"/>
                  <a:gd name="connsiteY6" fmla="*/ 1165294 h 1163111"/>
                  <a:gd name="connsiteX7" fmla="*/ 593972 w 871574"/>
                  <a:gd name="connsiteY7" fmla="*/ 1165294 h 1163111"/>
                  <a:gd name="connsiteX8" fmla="*/ 594063 w 871574"/>
                  <a:gd name="connsiteY8" fmla="*/ 1165203 h 1163111"/>
                  <a:gd name="connsiteX9" fmla="*/ 594063 w 871574"/>
                  <a:gd name="connsiteY9" fmla="*/ 278231 h 1163111"/>
                  <a:gd name="connsiteX10" fmla="*/ 872359 w 871574"/>
                  <a:gd name="connsiteY10" fmla="*/ 278231 h 1163111"/>
                  <a:gd name="connsiteX11" fmla="*/ 872359 w 871574"/>
                  <a:gd name="connsiteY11" fmla="*/ 755 h 1163111"/>
                  <a:gd name="connsiteX12" fmla="*/ 872359 w 871574"/>
                  <a:gd name="connsiteY12" fmla="*/ 755 h 1163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71574" h="1163111">
                    <a:moveTo>
                      <a:pt x="872359" y="724"/>
                    </a:moveTo>
                    <a:lnTo>
                      <a:pt x="373892" y="724"/>
                    </a:lnTo>
                    <a:lnTo>
                      <a:pt x="724" y="277897"/>
                    </a:lnTo>
                    <a:lnTo>
                      <a:pt x="785" y="278110"/>
                    </a:lnTo>
                    <a:lnTo>
                      <a:pt x="267086" y="278110"/>
                    </a:lnTo>
                    <a:lnTo>
                      <a:pt x="267086" y="1164960"/>
                    </a:lnTo>
                    <a:cubicBezTo>
                      <a:pt x="267086" y="1165142"/>
                      <a:pt x="267238" y="1165294"/>
                      <a:pt x="267420" y="1165294"/>
                    </a:cubicBezTo>
                    <a:lnTo>
                      <a:pt x="593972" y="1165294"/>
                    </a:lnTo>
                    <a:lnTo>
                      <a:pt x="594063" y="1165203"/>
                    </a:lnTo>
                    <a:lnTo>
                      <a:pt x="594063" y="278231"/>
                    </a:lnTo>
                    <a:lnTo>
                      <a:pt x="872359" y="278231"/>
                    </a:lnTo>
                    <a:lnTo>
                      <a:pt x="872359" y="755"/>
                    </a:lnTo>
                    <a:lnTo>
                      <a:pt x="872359" y="755"/>
                    </a:lnTo>
                    <a:close/>
                  </a:path>
                </a:pathLst>
              </a:custGeom>
              <a:grpFill/>
              <a:ln w="30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564B3D01-D0C7-4B09-BB92-5E164A824583}"/>
                  </a:ext>
                </a:extLst>
              </p:cNvPr>
              <p:cNvSpPr/>
              <p:nvPr/>
            </p:nvSpPr>
            <p:spPr>
              <a:xfrm>
                <a:off x="4452343" y="3157967"/>
                <a:ext cx="327979" cy="901943"/>
              </a:xfrm>
              <a:custGeom>
                <a:avLst/>
                <a:gdLst>
                  <a:gd name="connsiteX0" fmla="*/ 724 w 327979"/>
                  <a:gd name="connsiteY0" fmla="*/ 902667 h 901942"/>
                  <a:gd name="connsiteX1" fmla="*/ 304955 w 327979"/>
                  <a:gd name="connsiteY1" fmla="*/ 902667 h 901942"/>
                  <a:gd name="connsiteX2" fmla="*/ 327701 w 327979"/>
                  <a:gd name="connsiteY2" fmla="*/ 902667 h 901942"/>
                  <a:gd name="connsiteX3" fmla="*/ 327701 w 327979"/>
                  <a:gd name="connsiteY3" fmla="*/ 879921 h 901942"/>
                  <a:gd name="connsiteX4" fmla="*/ 327701 w 327979"/>
                  <a:gd name="connsiteY4" fmla="*/ 724 h 901942"/>
                  <a:gd name="connsiteX5" fmla="*/ 724 w 327979"/>
                  <a:gd name="connsiteY5" fmla="*/ 243581 h 901942"/>
                  <a:gd name="connsiteX6" fmla="*/ 724 w 327979"/>
                  <a:gd name="connsiteY6" fmla="*/ 902667 h 901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7979" h="901942">
                    <a:moveTo>
                      <a:pt x="724" y="902667"/>
                    </a:moveTo>
                    <a:lnTo>
                      <a:pt x="304955" y="902667"/>
                    </a:lnTo>
                    <a:lnTo>
                      <a:pt x="327701" y="902667"/>
                    </a:lnTo>
                    <a:lnTo>
                      <a:pt x="327701" y="879921"/>
                    </a:lnTo>
                    <a:lnTo>
                      <a:pt x="327701" y="724"/>
                    </a:lnTo>
                    <a:lnTo>
                      <a:pt x="724" y="243581"/>
                    </a:lnTo>
                    <a:lnTo>
                      <a:pt x="724" y="902667"/>
                    </a:lnTo>
                    <a:close/>
                  </a:path>
                </a:pathLst>
              </a:custGeom>
              <a:grpFill/>
              <a:ln w="30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FDC75530-61BA-4CC5-8BF2-DD536EADB10C}"/>
                  </a:ext>
                </a:extLst>
              </p:cNvPr>
              <p:cNvSpPr/>
              <p:nvPr/>
            </p:nvSpPr>
            <p:spPr>
              <a:xfrm>
                <a:off x="4879657" y="2877939"/>
                <a:ext cx="1232959" cy="1214738"/>
              </a:xfrm>
              <a:custGeom>
                <a:avLst/>
                <a:gdLst>
                  <a:gd name="connsiteX0" fmla="*/ 1192048 w 1232959"/>
                  <a:gd name="connsiteY0" fmla="*/ 470190 h 1214738"/>
                  <a:gd name="connsiteX1" fmla="*/ 896654 w 1232959"/>
                  <a:gd name="connsiteY1" fmla="*/ 470190 h 1214738"/>
                  <a:gd name="connsiteX2" fmla="*/ 556619 w 1232959"/>
                  <a:gd name="connsiteY2" fmla="*/ 722734 h 1214738"/>
                  <a:gd name="connsiteX3" fmla="*/ 522576 w 1232959"/>
                  <a:gd name="connsiteY3" fmla="*/ 748031 h 1214738"/>
                  <a:gd name="connsiteX4" fmla="*/ 853804 w 1232959"/>
                  <a:gd name="connsiteY4" fmla="*/ 748031 h 1214738"/>
                  <a:gd name="connsiteX5" fmla="*/ 611798 w 1232959"/>
                  <a:gd name="connsiteY5" fmla="*/ 887119 h 1214738"/>
                  <a:gd name="connsiteX6" fmla="*/ 332014 w 1232959"/>
                  <a:gd name="connsiteY6" fmla="*/ 608852 h 1214738"/>
                  <a:gd name="connsiteX7" fmla="*/ 611798 w 1232959"/>
                  <a:gd name="connsiteY7" fmla="*/ 330556 h 1214738"/>
                  <a:gd name="connsiteX8" fmla="*/ 838013 w 1232959"/>
                  <a:gd name="connsiteY8" fmla="*/ 445652 h 1214738"/>
                  <a:gd name="connsiteX9" fmla="*/ 838468 w 1232959"/>
                  <a:gd name="connsiteY9" fmla="*/ 446047 h 1214738"/>
                  <a:gd name="connsiteX10" fmla="*/ 851436 w 1232959"/>
                  <a:gd name="connsiteY10" fmla="*/ 462628 h 1214738"/>
                  <a:gd name="connsiteX11" fmla="*/ 869505 w 1232959"/>
                  <a:gd name="connsiteY11" fmla="*/ 449965 h 1214738"/>
                  <a:gd name="connsiteX12" fmla="*/ 1104223 w 1232959"/>
                  <a:gd name="connsiteY12" fmla="*/ 273220 h 1214738"/>
                  <a:gd name="connsiteX13" fmla="*/ 1104284 w 1232959"/>
                  <a:gd name="connsiteY13" fmla="*/ 273129 h 1214738"/>
                  <a:gd name="connsiteX14" fmla="*/ 1121715 w 1232959"/>
                  <a:gd name="connsiteY14" fmla="*/ 259919 h 1214738"/>
                  <a:gd name="connsiteX15" fmla="*/ 1108778 w 1232959"/>
                  <a:gd name="connsiteY15" fmla="*/ 241364 h 1214738"/>
                  <a:gd name="connsiteX16" fmla="*/ 617568 w 1232959"/>
                  <a:gd name="connsiteY16" fmla="*/ 724 h 1214738"/>
                  <a:gd name="connsiteX17" fmla="*/ 724 w 1232959"/>
                  <a:gd name="connsiteY17" fmla="*/ 608822 h 1214738"/>
                  <a:gd name="connsiteX18" fmla="*/ 617568 w 1232959"/>
                  <a:gd name="connsiteY18" fmla="*/ 1216798 h 1214738"/>
                  <a:gd name="connsiteX19" fmla="*/ 1234412 w 1232959"/>
                  <a:gd name="connsiteY19" fmla="*/ 608822 h 1214738"/>
                  <a:gd name="connsiteX20" fmla="*/ 1234412 w 1232959"/>
                  <a:gd name="connsiteY20" fmla="*/ 470160 h 1214738"/>
                  <a:gd name="connsiteX21" fmla="*/ 1192018 w 1232959"/>
                  <a:gd name="connsiteY21" fmla="*/ 470160 h 121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32959" h="1214738">
                    <a:moveTo>
                      <a:pt x="1192048" y="470190"/>
                    </a:moveTo>
                    <a:lnTo>
                      <a:pt x="896654" y="470190"/>
                    </a:lnTo>
                    <a:lnTo>
                      <a:pt x="556619" y="722734"/>
                    </a:lnTo>
                    <a:lnTo>
                      <a:pt x="522576" y="748031"/>
                    </a:lnTo>
                    <a:lnTo>
                      <a:pt x="853804" y="748031"/>
                    </a:lnTo>
                    <a:cubicBezTo>
                      <a:pt x="805367" y="831149"/>
                      <a:pt x="715294" y="887119"/>
                      <a:pt x="611798" y="887119"/>
                    </a:cubicBezTo>
                    <a:cubicBezTo>
                      <a:pt x="457344" y="887119"/>
                      <a:pt x="332014" y="762486"/>
                      <a:pt x="332014" y="608852"/>
                    </a:cubicBezTo>
                    <a:cubicBezTo>
                      <a:pt x="332014" y="455218"/>
                      <a:pt x="457223" y="330556"/>
                      <a:pt x="611798" y="330556"/>
                    </a:cubicBezTo>
                    <a:cubicBezTo>
                      <a:pt x="704938" y="330556"/>
                      <a:pt x="787146" y="376048"/>
                      <a:pt x="838013" y="445652"/>
                    </a:cubicBezTo>
                    <a:cubicBezTo>
                      <a:pt x="838134" y="445835"/>
                      <a:pt x="838347" y="445895"/>
                      <a:pt x="838468" y="446047"/>
                    </a:cubicBezTo>
                    <a:lnTo>
                      <a:pt x="851436" y="462628"/>
                    </a:lnTo>
                    <a:lnTo>
                      <a:pt x="869505" y="449965"/>
                    </a:lnTo>
                    <a:lnTo>
                      <a:pt x="1104223" y="273220"/>
                    </a:lnTo>
                    <a:cubicBezTo>
                      <a:pt x="1104223" y="273220"/>
                      <a:pt x="1104253" y="273159"/>
                      <a:pt x="1104284" y="273129"/>
                    </a:cubicBezTo>
                    <a:lnTo>
                      <a:pt x="1121715" y="259919"/>
                    </a:lnTo>
                    <a:lnTo>
                      <a:pt x="1108778" y="241364"/>
                    </a:lnTo>
                    <a:cubicBezTo>
                      <a:pt x="996293" y="95231"/>
                      <a:pt x="818213" y="724"/>
                      <a:pt x="617568" y="724"/>
                    </a:cubicBezTo>
                    <a:cubicBezTo>
                      <a:pt x="276956" y="724"/>
                      <a:pt x="724" y="272977"/>
                      <a:pt x="724" y="608822"/>
                    </a:cubicBezTo>
                    <a:cubicBezTo>
                      <a:pt x="724" y="944667"/>
                      <a:pt x="276956" y="1216798"/>
                      <a:pt x="617568" y="1216798"/>
                    </a:cubicBezTo>
                    <a:cubicBezTo>
                      <a:pt x="958181" y="1216798"/>
                      <a:pt x="1234412" y="944545"/>
                      <a:pt x="1234412" y="608822"/>
                    </a:cubicBezTo>
                    <a:lnTo>
                      <a:pt x="1234412" y="470160"/>
                    </a:lnTo>
                    <a:lnTo>
                      <a:pt x="1192018" y="470160"/>
                    </a:lnTo>
                    <a:close/>
                  </a:path>
                </a:pathLst>
              </a:custGeom>
              <a:grpFill/>
              <a:ln w="30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C4B6CD81-228D-4E79-8ECF-8C46CC3F816A}"/>
                </a:ext>
              </a:extLst>
            </p:cNvPr>
            <p:cNvSpPr/>
            <p:nvPr/>
          </p:nvSpPr>
          <p:spPr>
            <a:xfrm>
              <a:off x="6726879" y="2330457"/>
              <a:ext cx="1011270" cy="1029490"/>
            </a:xfrm>
            <a:custGeom>
              <a:avLst/>
              <a:gdLst>
                <a:gd name="connsiteX0" fmla="*/ 701780 w 1011269"/>
                <a:gd name="connsiteY0" fmla="*/ 724 h 1029490"/>
                <a:gd name="connsiteX1" fmla="*/ 601200 w 1011269"/>
                <a:gd name="connsiteY1" fmla="*/ 724 h 1029490"/>
                <a:gd name="connsiteX2" fmla="*/ 410304 w 1011269"/>
                <a:gd name="connsiteY2" fmla="*/ 724 h 1029490"/>
                <a:gd name="connsiteX3" fmla="*/ 724 w 1011269"/>
                <a:gd name="connsiteY3" fmla="*/ 309754 h 1029490"/>
                <a:gd name="connsiteX4" fmla="*/ 701780 w 1011269"/>
                <a:gd name="connsiteY4" fmla="*/ 309754 h 1029490"/>
                <a:gd name="connsiteX5" fmla="*/ 701780 w 1011269"/>
                <a:gd name="connsiteY5" fmla="*/ 1029759 h 1029490"/>
                <a:gd name="connsiteX6" fmla="*/ 1010809 w 1011269"/>
                <a:gd name="connsiteY6" fmla="*/ 620149 h 1029490"/>
                <a:gd name="connsiteX7" fmla="*/ 1010809 w 1011269"/>
                <a:gd name="connsiteY7" fmla="*/ 410334 h 1029490"/>
                <a:gd name="connsiteX8" fmla="*/ 1010809 w 1011269"/>
                <a:gd name="connsiteY8" fmla="*/ 309754 h 1029490"/>
                <a:gd name="connsiteX9" fmla="*/ 1010809 w 1011269"/>
                <a:gd name="connsiteY9" fmla="*/ 724 h 1029490"/>
                <a:gd name="connsiteX10" fmla="*/ 701780 w 1011269"/>
                <a:gd name="connsiteY10" fmla="*/ 724 h 102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11269" h="1029490">
                  <a:moveTo>
                    <a:pt x="701780" y="724"/>
                  </a:moveTo>
                  <a:lnTo>
                    <a:pt x="601200" y="724"/>
                  </a:lnTo>
                  <a:lnTo>
                    <a:pt x="410304" y="724"/>
                  </a:lnTo>
                  <a:lnTo>
                    <a:pt x="724" y="309754"/>
                  </a:lnTo>
                  <a:lnTo>
                    <a:pt x="701780" y="309754"/>
                  </a:lnTo>
                  <a:lnTo>
                    <a:pt x="701780" y="1029759"/>
                  </a:lnTo>
                  <a:lnTo>
                    <a:pt x="1010809" y="620149"/>
                  </a:lnTo>
                  <a:lnTo>
                    <a:pt x="1010809" y="410334"/>
                  </a:lnTo>
                  <a:lnTo>
                    <a:pt x="1010809" y="309754"/>
                  </a:lnTo>
                  <a:lnTo>
                    <a:pt x="1010809" y="724"/>
                  </a:lnTo>
                  <a:lnTo>
                    <a:pt x="701780" y="724"/>
                  </a:lnTo>
                  <a:close/>
                </a:path>
              </a:pathLst>
            </a:custGeom>
            <a:solidFill>
              <a:srgbClr val="F05A2A"/>
            </a:solidFill>
            <a:ln w="30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58379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AC5A3C-6F05-4E9C-87DC-907E5CFBA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2383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4961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523271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298592"/>
            <a:ext cx="2494016" cy="402652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fld id="{5761F466-C622-4CCE-BE3D-279FD219A330}" type="datetime3">
              <a:rPr lang="en-US" smtClean="0"/>
              <a:pPr/>
              <a:t>4 August 2022</a:t>
            </a:fld>
            <a:endParaRPr lang="en-US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C288970-37F5-4C4C-817F-00ABB8B6BF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47105" y="453629"/>
            <a:ext cx="1360860" cy="908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466200"/>
      </p:ext>
    </p:extLst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-77315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3000" dirty="0">
                <a:solidFill>
                  <a:srgbClr val="32383F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508644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36102"/>
            <a:ext cx="10972800" cy="5139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00">
                <a:solidFill>
                  <a:srgbClr val="32383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15950" y="733425"/>
            <a:ext cx="10858500" cy="3524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337883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5900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9900" y="608013"/>
            <a:ext cx="4762500" cy="4762500"/>
          </a:xfrm>
          <a:prstGeom prst="rect">
            <a:avLst/>
          </a:prstGeom>
        </p:spPr>
      </p:pic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93871" y="1360489"/>
            <a:ext cx="5311630" cy="9255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6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619125" y="2619375"/>
            <a:ext cx="8858250" cy="34575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000">
                <a:solidFill>
                  <a:srgbClr val="32383F"/>
                </a:solidFill>
              </a:defRPr>
            </a:lvl1pPr>
            <a:lvl2pPr>
              <a:defRPr sz="1800">
                <a:solidFill>
                  <a:srgbClr val="32383F"/>
                </a:solidFill>
              </a:defRPr>
            </a:lvl2pPr>
            <a:lvl3pPr>
              <a:defRPr sz="1600">
                <a:solidFill>
                  <a:srgbClr val="32383F"/>
                </a:solidFill>
              </a:defRPr>
            </a:lvl3pPr>
            <a:lvl4pPr>
              <a:defRPr sz="1400">
                <a:solidFill>
                  <a:srgbClr val="32383F"/>
                </a:solidFill>
              </a:defRPr>
            </a:lvl4pPr>
            <a:lvl5pPr>
              <a:defRPr sz="1400">
                <a:solidFill>
                  <a:srgbClr val="32383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798053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326547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55133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image" Target="../media/image10.emf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vmlDrawing" Target="../drawings/vmlDrawing1.v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31743"/>
            <a:ext cx="10623259" cy="9255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71587"/>
            <a:ext cx="10972800" cy="45815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11" name="Footer Placeholder 4"/>
          <p:cNvSpPr txBox="1">
            <a:spLocks/>
          </p:cNvSpPr>
          <p:nvPr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68367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7" r:id="rId2"/>
    <p:sldLayoutId id="2147483670" r:id="rId3"/>
    <p:sldLayoutId id="2147483706" r:id="rId4"/>
    <p:sldLayoutId id="2147483667" r:id="rId5"/>
    <p:sldLayoutId id="2147483671" r:id="rId6"/>
    <p:sldLayoutId id="2147483659" r:id="rId7"/>
    <p:sldLayoutId id="2147483651" r:id="rId8"/>
    <p:sldLayoutId id="2147483652" r:id="rId9"/>
    <p:sldLayoutId id="2147483672" r:id="rId10"/>
    <p:sldLayoutId id="2147483673" r:id="rId11"/>
    <p:sldLayoutId id="2147483674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000" kern="1200" dirty="0">
          <a:solidFill>
            <a:srgbClr val="42424D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rgbClr val="42424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42424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42424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42424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42424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30" imgW="270" imgH="270" progId="TCLayout.ActiveDocument.1">
                  <p:embed/>
                </p:oleObj>
              </mc:Choice>
              <mc:Fallback>
                <p:oleObj name="think-cell Slide" r:id="rId3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DD227C58-5330-448F-B10B-35B438501FEF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IGT Solutions Pvt. Ltd. | Confidential: Not for Distribution | www.igtsolutions.com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B08FB21-7F60-41D3-90DC-734625615811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75678237-7CEA-4750-9670-26A7DA6880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1743"/>
            <a:ext cx="10623259" cy="9255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2CC6CA7-0B55-42F6-8C28-AABB135C22FF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2350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  <p:sldLayoutId id="2147483695" r:id="rId15"/>
    <p:sldLayoutId id="2147483696" r:id="rId16"/>
    <p:sldLayoutId id="2147483697" r:id="rId17"/>
    <p:sldLayoutId id="2147483698" r:id="rId18"/>
    <p:sldLayoutId id="2147483699" r:id="rId19"/>
    <p:sldLayoutId id="2147483700" r:id="rId20"/>
    <p:sldLayoutId id="2147483701" r:id="rId21"/>
    <p:sldLayoutId id="2147483702" r:id="rId22"/>
    <p:sldLayoutId id="2147483703" r:id="rId23"/>
    <p:sldLayoutId id="2147483704" r:id="rId24"/>
    <p:sldLayoutId id="2147483705" r:id="rId2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000" kern="1200" dirty="0">
          <a:solidFill>
            <a:srgbClr val="32383F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rgbClr val="32383F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32383F"/>
        </a:buClr>
        <a:buFont typeface="Arial" panose="020B0604020202020204" pitchFamily="34" charset="0"/>
        <a:buChar char="•"/>
        <a:defRPr lang="en-US" sz="1200" kern="1200">
          <a:solidFill>
            <a:srgbClr val="32383F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32383F"/>
        </a:buClr>
        <a:buFont typeface="Trebuchet MS" panose="020B0603020202020204" pitchFamily="34" charset="0"/>
        <a:buChar char="–"/>
        <a:defRPr lang="en-US" sz="1200" kern="1200">
          <a:solidFill>
            <a:srgbClr val="32383F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rgbClr val="32383F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rgbClr val="32383F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32383F"/>
        </a:buClr>
        <a:buFont typeface="Arial" panose="020B0604020202020204" pitchFamily="34" charset="0"/>
        <a:buChar char="•"/>
        <a:defRPr lang="en-US" sz="1600" kern="1200" smtClean="0">
          <a:solidFill>
            <a:srgbClr val="32383F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rgbClr val="32383F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rgbClr val="32383F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rgbClr val="32383F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GT Solutions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0" dirty="0"/>
              <a:t>Sub-tit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61F466-C622-4CCE-BE3D-279FD219A330}" type="datetime3">
              <a:rPr lang="en-US" smtClean="0"/>
              <a:pPr/>
              <a:t>4 August 2022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23900" y="6016467"/>
            <a:ext cx="10758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Client Logo</a:t>
            </a:r>
          </a:p>
        </p:txBody>
      </p:sp>
    </p:spTree>
    <p:extLst>
      <p:ext uri="{BB962C8B-B14F-4D97-AF65-F5344CB8AC3E}">
        <p14:creationId xmlns:p14="http://schemas.microsoft.com/office/powerpoint/2010/main" val="26615933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619125" y="2619375"/>
            <a:ext cx="8858250" cy="34575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Agenda1</a:t>
            </a:r>
          </a:p>
          <a:p>
            <a:pPr lvl="0"/>
            <a:r>
              <a:rPr lang="en-US" dirty="0"/>
              <a:t>Agenda2 </a:t>
            </a:r>
          </a:p>
          <a:p>
            <a:pPr lvl="0"/>
            <a:r>
              <a:rPr lang="en-US" dirty="0"/>
              <a:t>Agenda3</a:t>
            </a:r>
          </a:p>
        </p:txBody>
      </p:sp>
    </p:spTree>
    <p:extLst>
      <p:ext uri="{BB962C8B-B14F-4D97-AF65-F5344CB8AC3E}">
        <p14:creationId xmlns:p14="http://schemas.microsoft.com/office/powerpoint/2010/main" val="39481747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6119148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tle of the Slid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ubtitle goes here…</a:t>
            </a:r>
          </a:p>
        </p:txBody>
      </p:sp>
    </p:spTree>
    <p:extLst>
      <p:ext uri="{BB962C8B-B14F-4D97-AF65-F5344CB8AC3E}">
        <p14:creationId xmlns:p14="http://schemas.microsoft.com/office/powerpoint/2010/main" val="18682416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Sub-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00855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t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IGT Solutions Pvt. Ltd. | Confidential: Not for Distribution | www.igtsolutions.com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3D5A7-E7A9-4A02-B0FC-4F987CA7C555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97179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0387375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UDUAXJrrh3yrWgRxui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GB7nTS2bDtAgmLiIiNh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JEBy7YhK6SpDQ3_nYx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HjMwY9RL2OiYlMdV7U5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1TAl3XD4P1yEnh_3fiD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OrjoV7pzKjbvst9Fsrx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JSNLEljafjjuK3LmAiA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cVDrDACWrP4oe_QJoIO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MMzaemVgVLWs4og3JYW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H9xwJ9v0A1GyD9Glr_N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jXEmAvqfaX0Qtw9gXQ7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y5SicYhBrpIVq4GmVaI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ssugutj_jgZYqpSQMTa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9dbzhJsS1_3Nrp4P2Py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aHv6DkOZF8m6uGxCBI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T87rtQuG8N5obCymbj_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_snZJAtZ1QYGbqaC8Wn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k5ZujoxWv2ZuJKCBbLE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RdUfo.ZyuDjfCXYFGSY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GvCC54Wry2eZqzBO7eB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GT template">
  <a:themeElements>
    <a:clrScheme name="Custom 1">
      <a:dk1>
        <a:srgbClr val="32383F"/>
      </a:dk1>
      <a:lt1>
        <a:sysClr val="window" lastClr="FFFFFF"/>
      </a:lt1>
      <a:dk2>
        <a:srgbClr val="F15B2A"/>
      </a:dk2>
      <a:lt2>
        <a:srgbClr val="FFFFFF"/>
      </a:lt2>
      <a:accent1>
        <a:srgbClr val="32383F"/>
      </a:accent1>
      <a:accent2>
        <a:srgbClr val="C7C8CA"/>
      </a:accent2>
      <a:accent3>
        <a:srgbClr val="F15B2A"/>
      </a:accent3>
      <a:accent4>
        <a:srgbClr val="42C6EC"/>
      </a:accent4>
      <a:accent5>
        <a:srgbClr val="8DC63F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CG Grid 16:9">
  <a:themeElements>
    <a:clrScheme name="IGT">
      <a:dk1>
        <a:srgbClr val="414042"/>
      </a:dk1>
      <a:lt1>
        <a:sysClr val="window" lastClr="FFFFFF"/>
      </a:lt1>
      <a:dk2>
        <a:srgbClr val="21448E"/>
      </a:dk2>
      <a:lt2>
        <a:srgbClr val="F2F2F2"/>
      </a:lt2>
      <a:accent1>
        <a:srgbClr val="132651"/>
      </a:accent1>
      <a:accent2>
        <a:srgbClr val="1B3777"/>
      </a:accent2>
      <a:accent3>
        <a:srgbClr val="D4DF33"/>
      </a:accent3>
      <a:accent4>
        <a:srgbClr val="3E6CD2"/>
      </a:accent4>
      <a:accent5>
        <a:srgbClr val="C7C8CA"/>
      </a:accent5>
      <a:accent6>
        <a:srgbClr val="F05A28"/>
      </a:accent6>
      <a:hlink>
        <a:srgbClr val="2E3558"/>
      </a:hlink>
      <a:folHlink>
        <a:srgbClr val="2E3558"/>
      </a:folHlink>
    </a:clrScheme>
    <a:fontScheme name="IG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/>
      <a:lstStyle/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GT template</Template>
  <TotalTime>342</TotalTime>
  <Words>47</Words>
  <Application>Microsoft Office PowerPoint</Application>
  <PresentationFormat>Widescreen</PresentationFormat>
  <Paragraphs>17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Century Gothic</vt:lpstr>
      <vt:lpstr>Trebuchet MS</vt:lpstr>
      <vt:lpstr>IGT template</vt:lpstr>
      <vt:lpstr>BCG Grid 16:9</vt:lpstr>
      <vt:lpstr>think-cell Slide</vt:lpstr>
      <vt:lpstr>IGT Solutions</vt:lpstr>
      <vt:lpstr>Agenda</vt:lpstr>
      <vt:lpstr>Title of the Slide</vt:lpstr>
      <vt:lpstr>Title of the Slide</vt:lpstr>
      <vt:lpstr>Title</vt:lpstr>
      <vt:lpstr>Title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T Solutions</dc:title>
  <dc:creator>Amit Malhotra-Markting</dc:creator>
  <cp:lastModifiedBy>Amit 1</cp:lastModifiedBy>
  <cp:revision>21</cp:revision>
  <dcterms:created xsi:type="dcterms:W3CDTF">2021-01-27T11:41:06Z</dcterms:created>
  <dcterms:modified xsi:type="dcterms:W3CDTF">2022-08-04T06:38:22Z</dcterms:modified>
</cp:coreProperties>
</file>